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  <p:sldId id="856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52" d="100"/>
          <a:sy n="152" d="100"/>
        </p:scale>
        <p:origin x="2064" y="1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«Гимназия № 10 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99592" y="4869160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бщеобразовательная организация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6" name="Picture 2" descr="D:\Рабочий стол\Клавдиенко З.М\Бережливые технологии\2023,октябрь\photo1697800258 (1)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732" y="1556792"/>
            <a:ext cx="3049366" cy="1875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Рабочий стол\Клавдиенко З.М\Бережливые технологии\2023,октябрь\photo1697800258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8744" y="1556792"/>
            <a:ext cx="2789993" cy="1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Рабочий стол\Клавдиенко З.М\Бережливые технологии\2023,октябрь\оперный театр_с балериной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732" y="3645024"/>
            <a:ext cx="3006198" cy="225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D:\Рабочий стол\Клавдиенко З.М\Бережливые технологии\2023,октябрь\УПи_10 клас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5119" y="3645024"/>
            <a:ext cx="3006198" cy="225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1600" b="1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https://chel-edu.ru/berezhlivoeobrazovanie/berezhlivoeobrazovanie2/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l="21850" t="9534" r="22632" b="14867"/>
          <a:stretch>
            <a:fillRect/>
          </a:stretch>
        </p:blipFill>
        <p:spPr bwMode="auto">
          <a:xfrm>
            <a:off x="2051720" y="2132856"/>
            <a:ext cx="5112568" cy="3916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16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https://www.gimn10.ru/for-learners/actions/berezhlivye-tekhnologii/?bitrix_include_areas=Y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670"/>
          <a:stretch/>
        </p:blipFill>
        <p:spPr>
          <a:xfrm>
            <a:off x="1331640" y="2239365"/>
            <a:ext cx="6479208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527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42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33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2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2</TotalTime>
  <Words>365</Words>
  <Application>Microsoft Office PowerPoint</Application>
  <PresentationFormat>Экран (4:3)</PresentationFormat>
  <Paragraphs>103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толий Соловьев</cp:lastModifiedBy>
  <cp:revision>148</cp:revision>
  <cp:lastPrinted>2019-04-25T09:14:46Z</cp:lastPrinted>
  <dcterms:created xsi:type="dcterms:W3CDTF">2018-08-20T14:01:12Z</dcterms:created>
  <dcterms:modified xsi:type="dcterms:W3CDTF">2023-10-23T09:55:07Z</dcterms:modified>
</cp:coreProperties>
</file>